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44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0A-4820-B4EC-FF047C999CC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E0A-4820-B4EC-FF047C999CC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E0A-4820-B4EC-FF047C999CC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13084879"/>
        <c:axId val="213085359"/>
      </c:barChart>
      <c:catAx>
        <c:axId val="2130848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85359"/>
        <c:crosses val="autoZero"/>
        <c:auto val="1"/>
        <c:lblAlgn val="ctr"/>
        <c:lblOffset val="100"/>
        <c:noMultiLvlLbl val="0"/>
      </c:catAx>
      <c:valAx>
        <c:axId val="213085359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848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2715E3-922B-02EA-4D6F-4D92CD199F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C72E78-7AFD-ACFA-2096-4D9A1D42FE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lanced Data &amp; Insights Slid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29895A0-99ED-C02D-8A22-DFA14FB860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2397097"/>
            <a:ext cx="8201025" cy="7325576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</p:txBody>
      </p:sp>
      <p:graphicFrame>
        <p:nvGraphicFramePr>
          <p:cNvPr id="5" name="Content Placeholder 10">
            <a:extLst>
              <a:ext uri="{FF2B5EF4-FFF2-40B4-BE49-F238E27FC236}">
                <a16:creationId xmlns:a16="http://schemas.microsoft.com/office/drawing/2014/main" id="{FA383ED7-B77F-3C32-58A4-7FAAFEAD867B}"/>
              </a:ext>
            </a:extLst>
          </p:cNvPr>
          <p:cNvGraphicFramePr>
            <a:graphicFrameLocks noGrp="1"/>
          </p:cNvGraphicFramePr>
          <p:nvPr>
            <p:ph idx="13"/>
          </p:nvPr>
        </p:nvGraphicFramePr>
        <p:xfrm>
          <a:off x="714375" y="2476500"/>
          <a:ext cx="8201025" cy="6738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374972-508C-DF44-B77A-E73ECC2A0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3" name="Content Placeholder 6">
            <a:extLst>
              <a:ext uri="{FF2B5EF4-FFF2-40B4-BE49-F238E27FC236}">
                <a16:creationId xmlns:a16="http://schemas.microsoft.com/office/drawing/2014/main" id="{E138C1FE-BFA7-D861-EE56-439EDFF38757}"/>
              </a:ext>
            </a:extLst>
          </p:cNvPr>
          <p:cNvSpPr txBox="1">
            <a:spLocks/>
          </p:cNvSpPr>
          <p:nvPr/>
        </p:nvSpPr>
        <p:spPr>
          <a:xfrm>
            <a:off x="9372600" y="1889656"/>
            <a:ext cx="8200800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Heading</a:t>
            </a:r>
            <a:endParaRPr lang="en-US" altLang="ko-KR" dirty="0"/>
          </a:p>
        </p:txBody>
      </p:sp>
      <p:sp>
        <p:nvSpPr>
          <p:cNvPr id="4" name="Content Placeholder 6">
            <a:extLst>
              <a:ext uri="{FF2B5EF4-FFF2-40B4-BE49-F238E27FC236}">
                <a16:creationId xmlns:a16="http://schemas.microsoft.com/office/drawing/2014/main" id="{C720C216-3C18-21B5-4F2D-6A81C5D0A207}"/>
              </a:ext>
            </a:extLst>
          </p:cNvPr>
          <p:cNvSpPr txBox="1">
            <a:spLocks/>
          </p:cNvSpPr>
          <p:nvPr/>
        </p:nvSpPr>
        <p:spPr>
          <a:xfrm>
            <a:off x="714375" y="1889656"/>
            <a:ext cx="797242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16500578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05</TotalTime>
  <Words>217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Balanced Data &amp; Insights Sli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03</cp:revision>
  <dcterms:created xsi:type="dcterms:W3CDTF">2006-08-16T00:00:00Z</dcterms:created>
  <dcterms:modified xsi:type="dcterms:W3CDTF">2025-10-06T09:08:17Z</dcterms:modified>
  <cp:category/>
  <dc:identifier>DAGkDf5R9EM</dc:identifier>
</cp:coreProperties>
</file>